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BDBDBD"/>
    <a:srgbClr val="727272"/>
    <a:srgbClr val="E5E5E5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60D6EBB6-AB49-4EC2-B385-F17C342D3D0B}"/>
    <pc:docChg chg="modSld">
      <pc:chgData name="Weigel Stefan (PAR-ES)" userId="fd3b2067-2981-4ad8-bf3a-d2e1004e4fa8" providerId="ADAL" clId="{60D6EBB6-AB49-4EC2-B385-F17C342D3D0B}" dt="2023-06-05T14:41:02.422" v="44" actId="6549"/>
      <pc:docMkLst>
        <pc:docMk/>
      </pc:docMkLst>
      <pc:sldChg chg="modSp mod">
        <pc:chgData name="Weigel Stefan (PAR-ES)" userId="fd3b2067-2981-4ad8-bf3a-d2e1004e4fa8" providerId="ADAL" clId="{60D6EBB6-AB49-4EC2-B385-F17C342D3D0B}" dt="2023-06-05T14:41:02.422" v="44" actId="6549"/>
        <pc:sldMkLst>
          <pc:docMk/>
          <pc:sldMk cId="2378578510" sldId="412"/>
        </pc:sldMkLst>
        <pc:spChg chg="mod">
          <ac:chgData name="Weigel Stefan (PAR-ES)" userId="fd3b2067-2981-4ad8-bf3a-d2e1004e4fa8" providerId="ADAL" clId="{60D6EBB6-AB49-4EC2-B385-F17C342D3D0B}" dt="2023-06-05T14:38:03.851" v="2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60D6EBB6-AB49-4EC2-B385-F17C342D3D0B}" dt="2023-06-05T14:38:21.469" v="5" actId="14100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60D6EBB6-AB49-4EC2-B385-F17C342D3D0B}" dt="2023-06-05T14:41:02.422" v="44" actId="6549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C33823CC-8C54-4D38-AE0F-1937C6FCF159}" dt="2022-12-08T15:17:25.967" v="23" actId="20577"/>
          <ac:spMkLst>
            <pc:docMk/>
            <pc:sldMk cId="2378578510" sldId="412"/>
            <ac:spMk id="2" creationId="{00000000-0000-0000-0000-000000000000}"/>
          </ac:spMkLst>
        </pc:spChg>
        <pc:spChg chg="add del mod">
          <ac:chgData name="Weigel Stefan (PAR-ES)" userId="fd3b2067-2981-4ad8-bf3a-d2e1004e4fa8" providerId="ADAL" clId="{C33823CC-8C54-4D38-AE0F-1937C6FCF159}" dt="2022-12-08T15:25:03.064" v="66"/>
          <ac:spMkLst>
            <pc:docMk/>
            <pc:sldMk cId="2378578510" sldId="412"/>
            <ac:spMk id="3" creationId="{33849BC8-3E53-44EC-12E2-0C65E9291855}"/>
          </ac:spMkLst>
        </pc:spChg>
        <pc:spChg chg="mod">
          <ac:chgData name="Weigel Stefan (PAR-ES)" userId="fd3b2067-2981-4ad8-bf3a-d2e1004e4fa8" providerId="ADAL" clId="{C33823CC-8C54-4D38-AE0F-1937C6FCF159}" dt="2022-12-08T15:19:56.620" v="60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C33823CC-8C54-4D38-AE0F-1937C6FCF159}" dt="2022-12-08T15:39:35.006" v="100" actId="20577"/>
          <ac:spMkLst>
            <pc:docMk/>
            <pc:sldMk cId="2378578510" sldId="412"/>
            <ac:spMk id="11" creationId="{CAAD78FC-EBAB-42C7-8FC8-FD065083F070}"/>
          </ac:spMkLst>
        </pc:spChg>
        <pc:graphicFrameChg chg="add del mod modGraphic">
          <ac:chgData name="Weigel Stefan (PAR-ES)" userId="fd3b2067-2981-4ad8-bf3a-d2e1004e4fa8" providerId="ADAL" clId="{C33823CC-8C54-4D38-AE0F-1937C6FCF159}" dt="2022-12-08T15:27:43.435" v="78" actId="478"/>
          <ac:graphicFrameMkLst>
            <pc:docMk/>
            <pc:sldMk cId="2378578510" sldId="412"/>
            <ac:graphicFrameMk id="5" creationId="{AB0D12E6-D536-DBD1-BB54-BB39F1274B8E}"/>
          </ac:graphicFrameMkLst>
        </pc:graphicFrameChg>
        <pc:graphicFrameChg chg="mod">
          <ac:chgData name="Weigel Stefan (PAR-ES)" userId="fd3b2067-2981-4ad8-bf3a-d2e1004e4fa8" providerId="ADAL" clId="{C33823CC-8C54-4D38-AE0F-1937C6FCF159}" dt="2022-12-08T15:26:11.137" v="73"/>
          <ac:graphicFrameMkLst>
            <pc:docMk/>
            <pc:sldMk cId="2378578510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29:08.001" v="70" actId="27918"/>
      <pc:docMkLst>
        <pc:docMk/>
      </pc:docMkLst>
      <pc:sldChg chg="modSp mod">
        <pc:chgData name="Weigel Stefan (PAR-ES)" userId="fd3b2067-2981-4ad8-bf3a-d2e1004e4fa8" providerId="ADAL" clId="{A960615E-EB95-4422-B313-59381D4A110F}" dt="2023-06-05T14:29:08.001" v="70" actId="27918"/>
        <pc:sldMkLst>
          <pc:docMk/>
          <pc:sldMk cId="2378578510" sldId="412"/>
        </pc:sldMkLst>
        <pc:spChg chg="mod">
          <ac:chgData name="Weigel Stefan (PAR-ES)" userId="fd3b2067-2981-4ad8-bf3a-d2e1004e4fa8" providerId="ADAL" clId="{A960615E-EB95-4422-B313-59381D4A110F}" dt="2023-06-05T13:49:57.44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960615E-EB95-4422-B313-59381D4A110F}" dt="2023-06-05T14:07:36.831" v="6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H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H$4:$H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4:$I$15</c:f>
              <c:numCache>
                <c:formatCode>#,##0</c:formatCode>
                <c:ptCount val="12"/>
                <c:pt idx="0">
                  <c:v>46037.230179650403</c:v>
                </c:pt>
                <c:pt idx="1">
                  <c:v>50407.614743435603</c:v>
                </c:pt>
                <c:pt idx="2">
                  <c:v>71341.108065515495</c:v>
                </c:pt>
                <c:pt idx="3">
                  <c:v>71801.204892480295</c:v>
                </c:pt>
                <c:pt idx="4">
                  <c:v>74062.921362539404</c:v>
                </c:pt>
                <c:pt idx="5">
                  <c:v>84033.759667142105</c:v>
                </c:pt>
                <c:pt idx="6">
                  <c:v>88096.923527959196</c:v>
                </c:pt>
                <c:pt idx="7">
                  <c:v>90871.150940881096</c:v>
                </c:pt>
                <c:pt idx="8">
                  <c:v>93698.463973834499</c:v>
                </c:pt>
                <c:pt idx="9">
                  <c:v>93717.982585749807</c:v>
                </c:pt>
                <c:pt idx="10">
                  <c:v>164786.61019934199</c:v>
                </c:pt>
                <c:pt idx="11">
                  <c:v>360911.2451277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J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val>
            <c:numRef>
              <c:f>data!$J$4:$J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8.06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3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3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3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3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ffluenza dei viaggiatori nelle stazioni nel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43503251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116344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umero medio di viaggiatori che salgono e scendono dai mezzi per giorno lavorativo in comparazione con il 2018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029575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no rappresentate le 12 stazioni a maggiore affluenza, contando i passeggeri che salgono e scendono dai treni; Zurigo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SZU; Berna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RBS; Basilea FFS, Losanna e Ginevra: sono considerati solo in parte i passeggeri dall’estero che salgono e scendono dai treni; Zurigo Stadelhofen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FB;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ie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/Bienne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</a:t>
            </a:r>
            <a:r>
              <a: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SM. 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iferimento: anni d’orario 2018 e 2022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7" ma:contentTypeDescription="Ein neues Dokument erstellen." ma:contentTypeScope="" ma:versionID="93808078b09d6013c2f10fc10dcb4d7b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8a1b71b62ba116778a09da76b3231462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2f5c8543-cf23-4718-a3b8-32b0a91d511a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9FAEAE-8496-470D-83B5-8CB7DD781D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za dei viaggiatori nelle stazioni nel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za dei viaggiatori nelle stazioni nel 2022.</dc:title>
  <dc:creator>Meyer Raphael (KOM-PGA-VSF)</dc:creator>
  <cp:lastModifiedBy>Stefan Weigel (PAR-ES)</cp:lastModifiedBy>
  <cp:revision>57</cp:revision>
  <dcterms:created xsi:type="dcterms:W3CDTF">2020-09-30T11:00:09Z</dcterms:created>
  <dcterms:modified xsi:type="dcterms:W3CDTF">2023-06-08T15:1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